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302" r:id="rId5"/>
    <p:sldId id="281" r:id="rId6"/>
    <p:sldId id="294" r:id="rId7"/>
    <p:sldId id="304" r:id="rId8"/>
    <p:sldId id="299" r:id="rId9"/>
    <p:sldId id="307" r:id="rId10"/>
    <p:sldId id="301" r:id="rId11"/>
    <p:sldId id="305" r:id="rId12"/>
    <p:sldId id="308" r:id="rId13"/>
    <p:sldId id="309" r:id="rId14"/>
    <p:sldId id="315" r:id="rId15"/>
    <p:sldId id="316" r:id="rId16"/>
    <p:sldId id="303" r:id="rId17"/>
    <p:sldId id="306" r:id="rId18"/>
    <p:sldId id="310" r:id="rId19"/>
    <p:sldId id="312" r:id="rId20"/>
    <p:sldId id="311" r:id="rId21"/>
    <p:sldId id="313" r:id="rId22"/>
    <p:sldId id="300" r:id="rId23"/>
    <p:sldId id="314" r:id="rId24"/>
    <p:sldId id="298" r:id="rId25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8759"/>
    <a:srgbClr val="1E3523"/>
    <a:srgbClr val="05043B"/>
    <a:srgbClr val="AB81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AC2FBD-ABC0-5247-896D-351E8BEBC21C}" v="12" dt="2024-05-05T08:11:15.138"/>
  </p1510:revLst>
</p1510:revInfo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0612" autoAdjust="0"/>
  </p:normalViewPr>
  <p:slideViewPr>
    <p:cSldViewPr snapToGrid="0">
      <p:cViewPr varScale="1">
        <p:scale>
          <a:sx n="88" d="100"/>
          <a:sy n="88" d="100"/>
        </p:scale>
        <p:origin x="2000" y="184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vin Giang" userId="7bf65802d3cf91dc" providerId="LiveId" clId="{A0AC2FBD-ABC0-5247-896D-351E8BEBC21C}"/>
    <pc:docChg chg="undo custSel addSld modSld">
      <pc:chgData name="Alvin Giang" userId="7bf65802d3cf91dc" providerId="LiveId" clId="{A0AC2FBD-ABC0-5247-896D-351E8BEBC21C}" dt="2024-05-05T08:30:53.020" v="90" actId="20577"/>
      <pc:docMkLst>
        <pc:docMk/>
      </pc:docMkLst>
      <pc:sldChg chg="modNotesTx">
        <pc:chgData name="Alvin Giang" userId="7bf65802d3cf91dc" providerId="LiveId" clId="{A0AC2FBD-ABC0-5247-896D-351E8BEBC21C}" dt="2024-05-05T08:30:43.318" v="72" actId="20577"/>
        <pc:sldMkLst>
          <pc:docMk/>
          <pc:sldMk cId="1686951006" sldId="308"/>
        </pc:sldMkLst>
      </pc:sldChg>
      <pc:sldChg chg="addSp modSp mod">
        <pc:chgData name="Alvin Giang" userId="7bf65802d3cf91dc" providerId="LiveId" clId="{A0AC2FBD-ABC0-5247-896D-351E8BEBC21C}" dt="2024-05-05T08:03:57.391" v="4" actId="1076"/>
        <pc:sldMkLst>
          <pc:docMk/>
          <pc:sldMk cId="3428194601" sldId="309"/>
        </pc:sldMkLst>
        <pc:picChg chg="add mod">
          <ac:chgData name="Alvin Giang" userId="7bf65802d3cf91dc" providerId="LiveId" clId="{A0AC2FBD-ABC0-5247-896D-351E8BEBC21C}" dt="2024-05-05T08:03:57.391" v="4" actId="1076"/>
          <ac:picMkLst>
            <pc:docMk/>
            <pc:sldMk cId="3428194601" sldId="309"/>
            <ac:picMk id="3" creationId="{C03D3476-4485-B21A-42E0-AC1E3EED87DB}"/>
          </ac:picMkLst>
        </pc:picChg>
      </pc:sldChg>
      <pc:sldChg chg="addSp modSp new mod modNotesTx">
        <pc:chgData name="Alvin Giang" userId="7bf65802d3cf91dc" providerId="LiveId" clId="{A0AC2FBD-ABC0-5247-896D-351E8BEBC21C}" dt="2024-05-05T08:30:48.307" v="79" actId="20577"/>
        <pc:sldMkLst>
          <pc:docMk/>
          <pc:sldMk cId="1893508107" sldId="315"/>
        </pc:sldMkLst>
        <pc:picChg chg="add mod">
          <ac:chgData name="Alvin Giang" userId="7bf65802d3cf91dc" providerId="LiveId" clId="{A0AC2FBD-ABC0-5247-896D-351E8BEBC21C}" dt="2024-05-05T08:06:05.112" v="12" actId="14100"/>
          <ac:picMkLst>
            <pc:docMk/>
            <pc:sldMk cId="1893508107" sldId="315"/>
            <ac:picMk id="4" creationId="{524019CB-2D3B-2D30-919A-21E5DC6E698A}"/>
          </ac:picMkLst>
        </pc:picChg>
      </pc:sldChg>
      <pc:sldChg chg="addSp modSp new mod modTransition modAnim modNotesTx">
        <pc:chgData name="Alvin Giang" userId="7bf65802d3cf91dc" providerId="LiveId" clId="{A0AC2FBD-ABC0-5247-896D-351E8BEBC21C}" dt="2024-05-05T08:30:53.020" v="90" actId="20577"/>
        <pc:sldMkLst>
          <pc:docMk/>
          <pc:sldMk cId="4084224202" sldId="316"/>
        </pc:sldMkLst>
        <pc:spChg chg="add mod">
          <ac:chgData name="Alvin Giang" userId="7bf65802d3cf91dc" providerId="LiveId" clId="{A0AC2FBD-ABC0-5247-896D-351E8BEBC21C}" dt="2024-05-05T08:11:12.177" v="65" actId="207"/>
          <ac:spMkLst>
            <pc:docMk/>
            <pc:sldMk cId="4084224202" sldId="316"/>
            <ac:spMk id="3" creationId="{89626B9F-2FE2-5A6B-B096-939661A33EC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5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5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30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24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4133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4741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166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8175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132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7F838-8931-4B06-B7CA-DC6CCAFC4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blue dots with red lines&#10;&#10;Description automatically generated">
            <a:extLst>
              <a:ext uri="{FF2B5EF4-FFF2-40B4-BE49-F238E27FC236}">
                <a16:creationId xmlns:a16="http://schemas.microsoft.com/office/drawing/2014/main" id="{C03D3476-4485-B21A-42E0-AC1E3EED87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099" y="171147"/>
            <a:ext cx="9773557" cy="651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194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524019CB-2D3B-2D30-919A-21E5DC6E69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572" y="749300"/>
            <a:ext cx="8903062" cy="556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08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9626B9F-2FE2-5A6B-B096-939661A33EC8}"/>
              </a:ext>
            </a:extLst>
          </p:cNvPr>
          <p:cNvSpPr txBox="1"/>
          <p:nvPr/>
        </p:nvSpPr>
        <p:spPr>
          <a:xfrm>
            <a:off x="849086" y="1364342"/>
            <a:ext cx="10174513" cy="4431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24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pPr marL="342900" lvl="0" indent="-342900">
              <a:buFont typeface="+mj-lt"/>
              <a:buAutoNum type="arabicPeriod"/>
            </a:pPr>
            <a:endParaRPr lang="en-AU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224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>
                <a:solidFill>
                  <a:srgbClr val="5B5B5B"/>
                </a:solidFill>
              </a:rPr>
              <a:t>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71E8370-A349-1373-8C97-33F9F080E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429" y="400463"/>
            <a:ext cx="8478493" cy="632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346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6943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72D7FE-DA41-7151-B0A0-4F95FE2BE6B1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10253C-37AE-811A-72BE-037A71D94F2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17DBA6C-0E29-2AAD-7E16-4B6C382A89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There are higher occurrences of respiratory disorders in towns and cities with higher levels of polluti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F31A66-605A-1496-ECF2-D72FD923E90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4127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11900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06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CONCLUSION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SO WHAT ARE OUR THOUGHTS</a:t>
            </a:r>
          </a:p>
        </p:txBody>
      </p:sp>
    </p:spTree>
    <p:extLst>
      <p:ext uri="{BB962C8B-B14F-4D97-AF65-F5344CB8AC3E}">
        <p14:creationId xmlns:p14="http://schemas.microsoft.com/office/powerpoint/2010/main" val="31131009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2040F3-AB4A-BD67-6C85-39E5DB84A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6775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310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THE Proces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Data and </a:t>
            </a:r>
            <a:r>
              <a:rPr lang="en-US" dirty="0" err="1"/>
              <a:t>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F2769-FD8D-74BB-3541-158C4DAB6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 err="1">
                <a:solidFill>
                  <a:schemeClr val="bg1"/>
                </a:solidFill>
              </a:rPr>
              <a:t>OpenWeatherMap</a:t>
            </a:r>
            <a:r>
              <a:rPr lang="en-US" sz="2400" cap="all" spc="300" dirty="0">
                <a:solidFill>
                  <a:schemeClr val="bg1"/>
                </a:solidFill>
              </a:rPr>
              <a:t>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PI NINJAS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Etc.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17142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92333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r>
              <a:rPr lang="en-US" dirty="0" err="1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öhne"/>
              </a:rPr>
              <a:t>nalyse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54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LET’s HAVE SOME FUN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HYPOTHESES Q&amp;A</a:t>
            </a:r>
          </a:p>
        </p:txBody>
      </p:sp>
    </p:spTree>
    <p:extLst>
      <p:ext uri="{BB962C8B-B14F-4D97-AF65-F5344CB8AC3E}">
        <p14:creationId xmlns:p14="http://schemas.microsoft.com/office/powerpoint/2010/main" val="2444212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9F79261-957B-AF90-70CF-BDDC259B6A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658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F79261-957B-AF90-70CF-BDDC259B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9D9BCE5-D783-2547-6B39-244E54FCDD9D}"/>
              </a:ext>
            </a:extLst>
          </p:cNvPr>
          <p:cNvSpPr txBox="1"/>
          <p:nvPr/>
        </p:nvSpPr>
        <p:spPr>
          <a:xfrm>
            <a:off x="3867665" y="1692876"/>
            <a:ext cx="508184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Population question at global scale</a:t>
            </a:r>
          </a:p>
          <a:p>
            <a:pPr marL="342900" indent="-342900">
              <a:buAutoNum type="arabicPeriod"/>
            </a:pPr>
            <a:r>
              <a:rPr lang="en-US" dirty="0"/>
              <a:t>Population question at the local scale – Australia</a:t>
            </a:r>
          </a:p>
          <a:p>
            <a:pPr marL="342900" indent="-342900">
              <a:buAutoNum type="arabicPeriod"/>
            </a:pPr>
            <a:r>
              <a:rPr lang="en-US" dirty="0"/>
              <a:t>Seasonal question – Global</a:t>
            </a:r>
          </a:p>
          <a:p>
            <a:pPr marL="342900" indent="-342900">
              <a:buAutoNum type="arabicPeriod"/>
            </a:pPr>
            <a:r>
              <a:rPr lang="en-US" dirty="0"/>
              <a:t>Pollutant v mental health correlation – Global </a:t>
            </a:r>
          </a:p>
          <a:p>
            <a:pPr marL="342900" indent="-342900">
              <a:buAutoNum type="arabicPeriod"/>
            </a:pPr>
            <a:r>
              <a:rPr lang="en-US" dirty="0"/>
              <a:t>Pollutant v respiratory health challenges - Global</a:t>
            </a:r>
          </a:p>
        </p:txBody>
      </p:sp>
    </p:spTree>
    <p:extLst>
      <p:ext uri="{BB962C8B-B14F-4D97-AF65-F5344CB8AC3E}">
        <p14:creationId xmlns:p14="http://schemas.microsoft.com/office/powerpoint/2010/main" val="3767426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EDC61F-346E-9501-840D-95420DE0FA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70" y="119760"/>
            <a:ext cx="9281649" cy="65990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A3238CE-19E7-E911-1CA7-883A85CE77EF}"/>
              </a:ext>
            </a:extLst>
          </p:cNvPr>
          <p:cNvSpPr/>
          <p:nvPr/>
        </p:nvSpPr>
        <p:spPr>
          <a:xfrm>
            <a:off x="5834270" y="0"/>
            <a:ext cx="2489752" cy="48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864F6E-93BC-1258-4071-7FEC76DBA86F}"/>
              </a:ext>
            </a:extLst>
          </p:cNvPr>
          <p:cNvSpPr txBox="1"/>
          <p:nvPr/>
        </p:nvSpPr>
        <p:spPr>
          <a:xfrm>
            <a:off x="748146" y="72042"/>
            <a:ext cx="628442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Global Winter CO Pollution Levels by Population (</a:t>
            </a:r>
            <a:r>
              <a:rPr lang="en-US" i="1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bubble size</a:t>
            </a:r>
            <a:r>
              <a:rPr lang="en-US" dirty="0"/>
              <a:t>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1CC9C7-AB9A-CE03-15E8-C9410EDBEDA9}"/>
              </a:ext>
            </a:extLst>
          </p:cNvPr>
          <p:cNvSpPr txBox="1"/>
          <p:nvPr/>
        </p:nvSpPr>
        <p:spPr>
          <a:xfrm>
            <a:off x="8279686" y="140143"/>
            <a:ext cx="675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O (</a:t>
            </a:r>
            <a:r>
              <a:rPr lang="el-GR" sz="1200" dirty="0"/>
              <a:t>μ</a:t>
            </a:r>
            <a:r>
              <a:rPr lang="en-US" sz="1200" dirty="0"/>
              <a:t>g/m</a:t>
            </a:r>
            <a:r>
              <a:rPr lang="en-US" sz="1200" baseline="30000" dirty="0"/>
              <a:t>3</a:t>
            </a:r>
            <a:r>
              <a:rPr lang="en-US" sz="1200" dirty="0"/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C5A72-19EB-0176-3724-8A5CA56379B3}"/>
              </a:ext>
            </a:extLst>
          </p:cNvPr>
          <p:cNvSpPr txBox="1"/>
          <p:nvPr/>
        </p:nvSpPr>
        <p:spPr>
          <a:xfrm>
            <a:off x="9576262" y="1607127"/>
            <a:ext cx="2410691" cy="452431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orrelation dat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637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yMjh9"/>
  <p:tag name="SLIDO_TYPE" val="SlidoPoll"/>
  <p:tag name="SLIDO_POLL_UUID" val="0eecd4f2-46a7-49ea-9638-ab35b4ddd43c"/>
  <p:tag name="SLIDO_TIMELINE" val="W3sicG9sbFF1ZXN0aW9uVXVpZCI6ImVhOTg4YjI1LWYzY2MtNDlkNS04MDVhLTkyMDViMWIzZDEyMC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235</TotalTime>
  <Words>380</Words>
  <Application>Microsoft Macintosh PowerPoint</Application>
  <PresentationFormat>Widescreen</PresentationFormat>
  <Paragraphs>95</Paragraphs>
  <Slides>2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Alvin Giang</cp:lastModifiedBy>
  <cp:revision>11</cp:revision>
  <dcterms:created xsi:type="dcterms:W3CDTF">2024-05-04T04:26:45Z</dcterms:created>
  <dcterms:modified xsi:type="dcterms:W3CDTF">2024-05-05T08:3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